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2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5B75E-6003-14D9-2309-08DA2E6A9E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8D56CF4-A5E1-1B47-2988-F6C2D839BA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D56CF4-A5E1-1B47-2988-F6C2D839B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446F5E-CBFC-9BA0-2F22-4356C8EE3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BE408B4-CD84-5E5D-FEED-28F9462F7EC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Shape0_20220517_165518">
            <a:extLst>
              <a:ext uri="{FF2B5EF4-FFF2-40B4-BE49-F238E27FC236}">
                <a16:creationId xmlns:a16="http://schemas.microsoft.com/office/drawing/2014/main" id="{A6F10947-9089-4D24-37D3-E4967244AF08}"/>
              </a:ext>
            </a:extLst>
          </p:cNvPr>
          <p:cNvSpPr>
            <a:spLocks/>
          </p:cNvSpPr>
          <p:nvPr/>
        </p:nvSpPr>
        <p:spPr>
          <a:xfrm>
            <a:off x="699644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4" name="Shape0_20211213_182644">
            <a:extLst>
              <a:ext uri="{FF2B5EF4-FFF2-40B4-BE49-F238E27FC236}">
                <a16:creationId xmlns:a16="http://schemas.microsoft.com/office/drawing/2014/main" id="{AB118061-6C40-820F-4C47-951DDCE88D76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5" name="Shape1_20220517_165518">
            <a:extLst>
              <a:ext uri="{FF2B5EF4-FFF2-40B4-BE49-F238E27FC236}">
                <a16:creationId xmlns:a16="http://schemas.microsoft.com/office/drawing/2014/main" id="{41D92382-DAFF-08ED-6609-6575F9726A2B}"/>
              </a:ext>
            </a:extLst>
          </p:cNvPr>
          <p:cNvSpPr>
            <a:spLocks/>
          </p:cNvSpPr>
          <p:nvPr/>
        </p:nvSpPr>
        <p:spPr>
          <a:xfrm>
            <a:off x="6417445" y="1578058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6" name="Shape1_20211213_182644">
            <a:extLst>
              <a:ext uri="{FF2B5EF4-FFF2-40B4-BE49-F238E27FC236}">
                <a16:creationId xmlns:a16="http://schemas.microsoft.com/office/drawing/2014/main" id="{6494BF61-75D6-4DEA-2534-9707646DF383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1484655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7" name="Shape2_20220517_165518">
            <a:extLst>
              <a:ext uri="{FF2B5EF4-FFF2-40B4-BE49-F238E27FC236}">
                <a16:creationId xmlns:a16="http://schemas.microsoft.com/office/drawing/2014/main" id="{E4A3EDF5-2434-7DB0-9EFA-A238563946C4}"/>
              </a:ext>
            </a:extLst>
          </p:cNvPr>
          <p:cNvSpPr>
            <a:spLocks/>
          </p:cNvSpPr>
          <p:nvPr/>
        </p:nvSpPr>
        <p:spPr>
          <a:xfrm>
            <a:off x="699644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8" name="Shape2_20211213_182644">
            <a:extLst>
              <a:ext uri="{FF2B5EF4-FFF2-40B4-BE49-F238E27FC236}">
                <a16:creationId xmlns:a16="http://schemas.microsoft.com/office/drawing/2014/main" id="{21CE58BD-9394-AF2A-E9F9-797638599D6D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0476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  <p:sp>
        <p:nvSpPr>
          <p:cNvPr id="89" name="Shape3_20220517_165518">
            <a:extLst>
              <a:ext uri="{FF2B5EF4-FFF2-40B4-BE49-F238E27FC236}">
                <a16:creationId xmlns:a16="http://schemas.microsoft.com/office/drawing/2014/main" id="{85DE75F3-DD88-62E3-3E4A-6C393EBB5AC7}"/>
              </a:ext>
            </a:extLst>
          </p:cNvPr>
          <p:cNvSpPr>
            <a:spLocks/>
          </p:cNvSpPr>
          <p:nvPr/>
        </p:nvSpPr>
        <p:spPr>
          <a:xfrm>
            <a:off x="6417445" y="3867507"/>
            <a:ext cx="5345767" cy="2013839"/>
          </a:xfrm>
          <a:custGeom>
            <a:avLst/>
            <a:gdLst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  <a:gd name="connsiteX5" fmla="*/ 367960 w 4384906"/>
              <a:gd name="connsiteY5" fmla="*/ 21071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6" fmla="*/ 459400 w 4384906"/>
              <a:gd name="connsiteY6" fmla="*/ 302151 h 1475838"/>
              <a:gd name="connsiteX0" fmla="*/ 367960 w 4384906"/>
              <a:gd name="connsiteY0" fmla="*/ 210711 h 1475838"/>
              <a:gd name="connsiteX1" fmla="*/ 367960 w 4384906"/>
              <a:gd name="connsiteY1" fmla="*/ 0 h 1475838"/>
              <a:gd name="connsiteX2" fmla="*/ 4384906 w 4384906"/>
              <a:gd name="connsiteY2" fmla="*/ 0 h 1475838"/>
              <a:gd name="connsiteX3" fmla="*/ 4384906 w 4384906"/>
              <a:gd name="connsiteY3" fmla="*/ 1475838 h 1475838"/>
              <a:gd name="connsiteX4" fmla="*/ 0 w 4384906"/>
              <a:gd name="connsiteY4" fmla="*/ 1475838 h 1475838"/>
              <a:gd name="connsiteX5" fmla="*/ 0 w 4384906"/>
              <a:gd name="connsiteY5" fmla="*/ 210711 h 1475838"/>
              <a:gd name="connsiteX0" fmla="*/ 367960 w 4384906"/>
              <a:gd name="connsiteY0" fmla="*/ 0 h 1475838"/>
              <a:gd name="connsiteX1" fmla="*/ 4384906 w 4384906"/>
              <a:gd name="connsiteY1" fmla="*/ 0 h 1475838"/>
              <a:gd name="connsiteX2" fmla="*/ 4384906 w 4384906"/>
              <a:gd name="connsiteY2" fmla="*/ 1475838 h 1475838"/>
              <a:gd name="connsiteX3" fmla="*/ 0 w 4384906"/>
              <a:gd name="connsiteY3" fmla="*/ 1475838 h 1475838"/>
              <a:gd name="connsiteX4" fmla="*/ 0 w 4384906"/>
              <a:gd name="connsiteY4" fmla="*/ 210711 h 14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4906" h="1475838">
                <a:moveTo>
                  <a:pt x="367960" y="0"/>
                </a:moveTo>
                <a:lnTo>
                  <a:pt x="4384906" y="0"/>
                </a:lnTo>
                <a:lnTo>
                  <a:pt x="4384906" y="1475838"/>
                </a:lnTo>
                <a:lnTo>
                  <a:pt x="0" y="1475838"/>
                </a:lnTo>
                <a:lnTo>
                  <a:pt x="0" y="210711"/>
                </a:lnTo>
              </a:path>
            </a:pathLst>
          </a:cu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00299" tIns="300299" rIns="300299" bIns="300299" anchor="t" anchorCtr="0">
            <a:noAutofit/>
          </a:bodyPr>
          <a:lstStyle/>
          <a:p>
            <a:pPr algn="l">
              <a:buClr>
                <a:srgbClr val="000000"/>
              </a:buClr>
              <a:defRPr/>
            </a:pPr>
            <a:r>
              <a:rPr lang="en-US" sz="1600" i="1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6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0" name="Shape3_20211213_182644">
            <a:extLst>
              <a:ext uri="{FF2B5EF4-FFF2-40B4-BE49-F238E27FC236}">
                <a16:creationId xmlns:a16="http://schemas.microsoft.com/office/drawing/2014/main" id="{C4783247-A452-F42D-3252-A87BAB66F089}"/>
              </a:ext>
            </a:extLst>
          </p:cNvPr>
          <p:cNvSpPr>
            <a:spLocks noEditPoints="1"/>
          </p:cNvSpPr>
          <p:nvPr/>
        </p:nvSpPr>
        <p:spPr bwMode="auto">
          <a:xfrm flipH="1" flipV="1">
            <a:off x="6348278" y="3774104"/>
            <a:ext cx="346228" cy="230183"/>
          </a:xfrm>
          <a:custGeom>
            <a:avLst/>
            <a:gdLst>
              <a:gd name="T0" fmla="*/ 319 w 1440"/>
              <a:gd name="T1" fmla="*/ 640 h 960"/>
              <a:gd name="T2" fmla="*/ 0 w 1440"/>
              <a:gd name="T3" fmla="*/ 320 h 960"/>
              <a:gd name="T4" fmla="*/ 320 w 1440"/>
              <a:gd name="T5" fmla="*/ 0 h 960"/>
              <a:gd name="T6" fmla="*/ 640 w 1440"/>
              <a:gd name="T7" fmla="*/ 320 h 960"/>
              <a:gd name="T8" fmla="*/ 0 w 1440"/>
              <a:gd name="T9" fmla="*/ 960 h 960"/>
              <a:gd name="T10" fmla="*/ 319 w 1440"/>
              <a:gd name="T11" fmla="*/ 640 h 960"/>
              <a:gd name="T12" fmla="*/ 800 w 1440"/>
              <a:gd name="T13" fmla="*/ 320 h 960"/>
              <a:gd name="T14" fmla="*/ 1120 w 1440"/>
              <a:gd name="T15" fmla="*/ 0 h 960"/>
              <a:gd name="T16" fmla="*/ 1440 w 1440"/>
              <a:gd name="T17" fmla="*/ 320 h 960"/>
              <a:gd name="T18" fmla="*/ 1440 w 1440"/>
              <a:gd name="T19" fmla="*/ 320 h 960"/>
              <a:gd name="T20" fmla="*/ 800 w 1440"/>
              <a:gd name="T21" fmla="*/ 960 h 960"/>
              <a:gd name="T22" fmla="*/ 1119 w 1440"/>
              <a:gd name="T23" fmla="*/ 640 h 960"/>
              <a:gd name="T24" fmla="*/ 800 w 1440"/>
              <a:gd name="T25" fmla="*/ 320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40" h="960">
                <a:moveTo>
                  <a:pt x="319" y="640"/>
                </a:moveTo>
                <a:cubicBezTo>
                  <a:pt x="143" y="640"/>
                  <a:pt x="0" y="496"/>
                  <a:pt x="0" y="320"/>
                </a:cubicBezTo>
                <a:cubicBezTo>
                  <a:pt x="0" y="144"/>
                  <a:pt x="144" y="0"/>
                  <a:pt x="320" y="0"/>
                </a:cubicBezTo>
                <a:cubicBezTo>
                  <a:pt x="496" y="0"/>
                  <a:pt x="640" y="144"/>
                  <a:pt x="640" y="320"/>
                </a:cubicBezTo>
                <a:cubicBezTo>
                  <a:pt x="640" y="674"/>
                  <a:pt x="354" y="960"/>
                  <a:pt x="0" y="960"/>
                </a:cubicBezTo>
                <a:cubicBezTo>
                  <a:pt x="0" y="960"/>
                  <a:pt x="210" y="882"/>
                  <a:pt x="319" y="640"/>
                </a:cubicBezTo>
                <a:close/>
                <a:moveTo>
                  <a:pt x="800" y="320"/>
                </a:moveTo>
                <a:cubicBezTo>
                  <a:pt x="800" y="144"/>
                  <a:pt x="944" y="0"/>
                  <a:pt x="1120" y="0"/>
                </a:cubicBezTo>
                <a:cubicBezTo>
                  <a:pt x="1296" y="0"/>
                  <a:pt x="1440" y="144"/>
                  <a:pt x="1440" y="320"/>
                </a:cubicBezTo>
                <a:lnTo>
                  <a:pt x="1440" y="320"/>
                </a:lnTo>
                <a:cubicBezTo>
                  <a:pt x="1440" y="674"/>
                  <a:pt x="1154" y="960"/>
                  <a:pt x="800" y="960"/>
                </a:cubicBezTo>
                <a:cubicBezTo>
                  <a:pt x="800" y="960"/>
                  <a:pt x="1010" y="882"/>
                  <a:pt x="1119" y="640"/>
                </a:cubicBezTo>
                <a:cubicBezTo>
                  <a:pt x="943" y="640"/>
                  <a:pt x="800" y="496"/>
                  <a:pt x="800" y="32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2800"/>
          </a:p>
        </p:txBody>
      </p:sp>
    </p:spTree>
    <p:extLst>
      <p:ext uri="{BB962C8B-B14F-4D97-AF65-F5344CB8AC3E}">
        <p14:creationId xmlns:p14="http://schemas.microsoft.com/office/powerpoint/2010/main" val="3211685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9</TotalTime>
  <Words>14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16</cp:revision>
  <dcterms:created xsi:type="dcterms:W3CDTF">2021-03-31T02:49:57Z</dcterms:created>
  <dcterms:modified xsi:type="dcterms:W3CDTF">2025-10-15T02:48:51Z</dcterms:modified>
  <cp:category/>
</cp:coreProperties>
</file>